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</p:sldMasterIdLst>
  <p:notesMasterIdLst>
    <p:notesMasterId r:id="rId9"/>
  </p:notesMasterIdLst>
  <p:handoutMasterIdLst>
    <p:handoutMasterId r:id="rId10"/>
  </p:handoutMasterIdLst>
  <p:sldIdLst>
    <p:sldId id="256" r:id="rId5"/>
    <p:sldId id="257" r:id="rId6"/>
    <p:sldId id="260" r:id="rId7"/>
    <p:sldId id="258" r:id="rId8"/>
  </p:sldIdLst>
  <p:sldSz cx="6858000" cy="6858000"/>
  <p:notesSz cx="6858000" cy="9144000"/>
  <p:embeddedFontLst>
    <p:embeddedFont>
      <p:font typeface="Arial Black" panose="020B0604020202020204" pitchFamily="34" charset="0"/>
      <p:bold r:id="rId11"/>
    </p:embeddedFont>
    <p:embeddedFont>
      <p:font typeface="Barlow" pitchFamily="2" charset="77"/>
      <p:regular r:id="rId12"/>
      <p:bold r:id="rId13"/>
      <p:italic r:id="rId14"/>
      <p:boldItalic r:id="rId15"/>
    </p:embeddedFont>
    <p:embeddedFont>
      <p:font typeface="Barlow Semi Condensed ExtraBold" panose="020F0502020204030204" pitchFamily="34" charset="0"/>
      <p:bold r:id="rId16"/>
      <p:italic r:id="rId17"/>
      <p:boldItalic r:id="rId18"/>
    </p:embeddedFont>
    <p:embeddedFont>
      <p:font typeface="HelveticaNeueLT Std Lt Cn" panose="020B0406020202030204" pitchFamily="34" charset="0"/>
      <p:regular r:id="rId19"/>
      <p:bold r:id="rId20"/>
      <p:italic r:id="rId21"/>
      <p:boldItalic r:id="rId22"/>
    </p:embeddedFont>
  </p:embeddedFontLst>
  <p:custDataLst>
    <p:tags r:id="rId23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main Carette" initials="RC" lastIdx="1" clrIdx="0">
    <p:extLst>
      <p:ext uri="{19B8F6BF-5375-455C-9EA6-DF929625EA0E}">
        <p15:presenceInfo xmlns:p15="http://schemas.microsoft.com/office/powerpoint/2012/main" userId="f5b5fcd6593eb51e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21B5A"/>
    <a:srgbClr val="E2DA51"/>
    <a:srgbClr val="00C1BD"/>
    <a:srgbClr val="FFE1EC"/>
    <a:srgbClr val="451B67"/>
    <a:srgbClr val="F3F0B9"/>
    <a:srgbClr val="9FE5D8"/>
    <a:srgbClr val="4B555F"/>
    <a:srgbClr val="647F54"/>
    <a:srgbClr val="A80FC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712"/>
  </p:normalViewPr>
  <p:slideViewPr>
    <p:cSldViewPr snapToGrid="0">
      <p:cViewPr varScale="1">
        <p:scale>
          <a:sx n="105" d="100"/>
          <a:sy n="105" d="100"/>
        </p:scale>
        <p:origin x="2592" y="2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font" Target="fonts/font3.fntdata"/><Relationship Id="rId18" Type="http://schemas.openxmlformats.org/officeDocument/2006/relationships/font" Target="fonts/font8.fntdata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font" Target="fonts/font11.fntdata"/><Relationship Id="rId7" Type="http://schemas.openxmlformats.org/officeDocument/2006/relationships/slide" Target="slides/slide3.xml"/><Relationship Id="rId12" Type="http://schemas.openxmlformats.org/officeDocument/2006/relationships/font" Target="fonts/font2.fntdata"/><Relationship Id="rId17" Type="http://schemas.openxmlformats.org/officeDocument/2006/relationships/font" Target="fonts/font7.fntdata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font" Target="fonts/font6.fntdata"/><Relationship Id="rId20" Type="http://schemas.openxmlformats.org/officeDocument/2006/relationships/font" Target="fonts/font10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font" Target="fonts/font1.fntdata"/><Relationship Id="rId24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font" Target="fonts/font5.fntdata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19" Type="http://schemas.openxmlformats.org/officeDocument/2006/relationships/font" Target="fonts/font9.fntdata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font" Target="fonts/font4.fntdata"/><Relationship Id="rId22" Type="http://schemas.openxmlformats.org/officeDocument/2006/relationships/font" Target="fonts/font12.fntdata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758CD453-6651-4F5D-AF0E-943113B7BA3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194310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ctr"/>
            <a:fld id="{4AFB3F6D-27DE-421A-80DD-C4F1B28388AB}" type="slidenum">
              <a:rPr lang="en-GB" smtClean="0"/>
              <a:pPr algn="ctr"/>
              <a:t>‹#›</a:t>
            </a:fld>
            <a:endParaRPr lang="en-GB"/>
          </a:p>
        </p:txBody>
      </p:sp>
      <p:pic>
        <p:nvPicPr>
          <p:cNvPr id="6" name="Graphique 5">
            <a:extLst>
              <a:ext uri="{FF2B5EF4-FFF2-40B4-BE49-F238E27FC236}">
                <a16:creationId xmlns:a16="http://schemas.microsoft.com/office/drawing/2014/main" id="{D0451719-3070-4E08-B8C6-FC356491DB5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71445" y="222059"/>
            <a:ext cx="715110" cy="644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39508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885950" y="1143000"/>
            <a:ext cx="30861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194310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1200"/>
            </a:lvl1pPr>
          </a:lstStyle>
          <a:p>
            <a:fld id="{3B8578AD-0529-46A5-84EB-6338160D5A7D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Graphique 7">
            <a:extLst>
              <a:ext uri="{FF2B5EF4-FFF2-40B4-BE49-F238E27FC236}">
                <a16:creationId xmlns:a16="http://schemas.microsoft.com/office/drawing/2014/main" id="{6C287C20-68EB-44AA-A066-A744AB8D45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71445" y="222059"/>
            <a:ext cx="715110" cy="644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1942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  <a:endParaRPr lang="fr-FR" sz="18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8578AD-0529-46A5-84EB-6338160D5A7D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97405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8578AD-0529-46A5-84EB-6338160D5A7D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50659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77090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499A8B90-87CD-4260-BD04-1C5EEF5CA21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72458" y="613187"/>
            <a:ext cx="2179111" cy="4774541"/>
          </a:xfrm>
          <a:custGeom>
            <a:avLst/>
            <a:gdLst>
              <a:gd name="connsiteX0" fmla="*/ 0 w 3863752"/>
              <a:gd name="connsiteY0" fmla="*/ 0 h 4767039"/>
              <a:gd name="connsiteX1" fmla="*/ 3863752 w 3863752"/>
              <a:gd name="connsiteY1" fmla="*/ 0 h 4767039"/>
              <a:gd name="connsiteX2" fmla="*/ 3863752 w 3863752"/>
              <a:gd name="connsiteY2" fmla="*/ 4767039 h 4767039"/>
              <a:gd name="connsiteX3" fmla="*/ 0 w 3863752"/>
              <a:gd name="connsiteY3" fmla="*/ 4767039 h 4767039"/>
              <a:gd name="connsiteX4" fmla="*/ 0 w 3863752"/>
              <a:gd name="connsiteY4" fmla="*/ 0 h 4767039"/>
              <a:gd name="connsiteX0" fmla="*/ 0 w 3863752"/>
              <a:gd name="connsiteY0" fmla="*/ 7502 h 4774541"/>
              <a:gd name="connsiteX1" fmla="*/ 1044026 w 3863752"/>
              <a:gd name="connsiteY1" fmla="*/ 0 h 4774541"/>
              <a:gd name="connsiteX2" fmla="*/ 3863752 w 3863752"/>
              <a:gd name="connsiteY2" fmla="*/ 7502 h 4774541"/>
              <a:gd name="connsiteX3" fmla="*/ 3863752 w 3863752"/>
              <a:gd name="connsiteY3" fmla="*/ 4774541 h 4774541"/>
              <a:gd name="connsiteX4" fmla="*/ 0 w 3863752"/>
              <a:gd name="connsiteY4" fmla="*/ 4774541 h 4774541"/>
              <a:gd name="connsiteX5" fmla="*/ 0 w 3863752"/>
              <a:gd name="connsiteY5" fmla="*/ 7502 h 4774541"/>
              <a:gd name="connsiteX0" fmla="*/ 10223 w 3873975"/>
              <a:gd name="connsiteY0" fmla="*/ 7502 h 4774541"/>
              <a:gd name="connsiteX1" fmla="*/ 1054249 w 3873975"/>
              <a:gd name="connsiteY1" fmla="*/ 0 h 4774541"/>
              <a:gd name="connsiteX2" fmla="*/ 3873975 w 3873975"/>
              <a:gd name="connsiteY2" fmla="*/ 7502 h 4774541"/>
              <a:gd name="connsiteX3" fmla="*/ 3873975 w 3873975"/>
              <a:gd name="connsiteY3" fmla="*/ 4774541 h 4774541"/>
              <a:gd name="connsiteX4" fmla="*/ 10223 w 3873975"/>
              <a:gd name="connsiteY4" fmla="*/ 4774541 h 4774541"/>
              <a:gd name="connsiteX5" fmla="*/ 0 w 3873975"/>
              <a:gd name="connsiteY5" fmla="*/ 1151068 h 4774541"/>
              <a:gd name="connsiteX6" fmla="*/ 10223 w 3873975"/>
              <a:gd name="connsiteY6" fmla="*/ 7502 h 4774541"/>
              <a:gd name="connsiteX0" fmla="*/ 10223 w 3873975"/>
              <a:gd name="connsiteY0" fmla="*/ 7502 h 4774541"/>
              <a:gd name="connsiteX1" fmla="*/ 1054249 w 3873975"/>
              <a:gd name="connsiteY1" fmla="*/ 0 h 4774541"/>
              <a:gd name="connsiteX2" fmla="*/ 3873975 w 3873975"/>
              <a:gd name="connsiteY2" fmla="*/ 7502 h 4774541"/>
              <a:gd name="connsiteX3" fmla="*/ 3873975 w 3873975"/>
              <a:gd name="connsiteY3" fmla="*/ 4774541 h 4774541"/>
              <a:gd name="connsiteX4" fmla="*/ 10223 w 3873975"/>
              <a:gd name="connsiteY4" fmla="*/ 4774541 h 4774541"/>
              <a:gd name="connsiteX5" fmla="*/ 0 w 3873975"/>
              <a:gd name="connsiteY5" fmla="*/ 957430 h 4774541"/>
              <a:gd name="connsiteX6" fmla="*/ 10223 w 3873975"/>
              <a:gd name="connsiteY6" fmla="*/ 7502 h 4774541"/>
              <a:gd name="connsiteX0" fmla="*/ 10223 w 3873975"/>
              <a:gd name="connsiteY0" fmla="*/ 7502 h 4774541"/>
              <a:gd name="connsiteX1" fmla="*/ 1118795 w 3873975"/>
              <a:gd name="connsiteY1" fmla="*/ 0 h 4774541"/>
              <a:gd name="connsiteX2" fmla="*/ 3873975 w 3873975"/>
              <a:gd name="connsiteY2" fmla="*/ 7502 h 4774541"/>
              <a:gd name="connsiteX3" fmla="*/ 3873975 w 3873975"/>
              <a:gd name="connsiteY3" fmla="*/ 4774541 h 4774541"/>
              <a:gd name="connsiteX4" fmla="*/ 10223 w 3873975"/>
              <a:gd name="connsiteY4" fmla="*/ 4774541 h 4774541"/>
              <a:gd name="connsiteX5" fmla="*/ 0 w 3873975"/>
              <a:gd name="connsiteY5" fmla="*/ 957430 h 4774541"/>
              <a:gd name="connsiteX6" fmla="*/ 10223 w 3873975"/>
              <a:gd name="connsiteY6" fmla="*/ 7502 h 4774541"/>
              <a:gd name="connsiteX0" fmla="*/ 10223 w 3873975"/>
              <a:gd name="connsiteY0" fmla="*/ 7502 h 4774541"/>
              <a:gd name="connsiteX1" fmla="*/ 1118795 w 3873975"/>
              <a:gd name="connsiteY1" fmla="*/ 0 h 4774541"/>
              <a:gd name="connsiteX2" fmla="*/ 3873975 w 3873975"/>
              <a:gd name="connsiteY2" fmla="*/ 7502 h 4774541"/>
              <a:gd name="connsiteX3" fmla="*/ 3873975 w 3873975"/>
              <a:gd name="connsiteY3" fmla="*/ 4774541 h 4774541"/>
              <a:gd name="connsiteX4" fmla="*/ 10223 w 3873975"/>
              <a:gd name="connsiteY4" fmla="*/ 4774541 h 4774541"/>
              <a:gd name="connsiteX5" fmla="*/ 0 w 3873975"/>
              <a:gd name="connsiteY5" fmla="*/ 968187 h 4774541"/>
              <a:gd name="connsiteX6" fmla="*/ 10223 w 3873975"/>
              <a:gd name="connsiteY6" fmla="*/ 7502 h 4774541"/>
              <a:gd name="connsiteX0" fmla="*/ 0 w 3873975"/>
              <a:gd name="connsiteY0" fmla="*/ 968187 h 4774541"/>
              <a:gd name="connsiteX1" fmla="*/ 1118795 w 3873975"/>
              <a:gd name="connsiteY1" fmla="*/ 0 h 4774541"/>
              <a:gd name="connsiteX2" fmla="*/ 3873975 w 3873975"/>
              <a:gd name="connsiteY2" fmla="*/ 7502 h 4774541"/>
              <a:gd name="connsiteX3" fmla="*/ 3873975 w 3873975"/>
              <a:gd name="connsiteY3" fmla="*/ 4774541 h 4774541"/>
              <a:gd name="connsiteX4" fmla="*/ 10223 w 3873975"/>
              <a:gd name="connsiteY4" fmla="*/ 4774541 h 4774541"/>
              <a:gd name="connsiteX5" fmla="*/ 0 w 3873975"/>
              <a:gd name="connsiteY5" fmla="*/ 968187 h 4774541"/>
              <a:gd name="connsiteX0" fmla="*/ 0 w 3873975"/>
              <a:gd name="connsiteY0" fmla="*/ 968187 h 4774541"/>
              <a:gd name="connsiteX1" fmla="*/ 1118795 w 3873975"/>
              <a:gd name="connsiteY1" fmla="*/ 0 h 4774541"/>
              <a:gd name="connsiteX2" fmla="*/ 3873975 w 3873975"/>
              <a:gd name="connsiteY2" fmla="*/ 7502 h 4774541"/>
              <a:gd name="connsiteX3" fmla="*/ 3873975 w 3873975"/>
              <a:gd name="connsiteY3" fmla="*/ 4774541 h 4774541"/>
              <a:gd name="connsiteX4" fmla="*/ 10223 w 3873975"/>
              <a:gd name="connsiteY4" fmla="*/ 4774541 h 4774541"/>
              <a:gd name="connsiteX5" fmla="*/ 0 w 3873975"/>
              <a:gd name="connsiteY5" fmla="*/ 968187 h 4774541"/>
              <a:gd name="connsiteX0" fmla="*/ 0 w 3873975"/>
              <a:gd name="connsiteY0" fmla="*/ 968187 h 4774541"/>
              <a:gd name="connsiteX1" fmla="*/ 1118795 w 3873975"/>
              <a:gd name="connsiteY1" fmla="*/ 0 h 4774541"/>
              <a:gd name="connsiteX2" fmla="*/ 3873975 w 3873975"/>
              <a:gd name="connsiteY2" fmla="*/ 7502 h 4774541"/>
              <a:gd name="connsiteX3" fmla="*/ 3873975 w 3873975"/>
              <a:gd name="connsiteY3" fmla="*/ 4774541 h 4774541"/>
              <a:gd name="connsiteX4" fmla="*/ 10223 w 3873975"/>
              <a:gd name="connsiteY4" fmla="*/ 4774541 h 4774541"/>
              <a:gd name="connsiteX5" fmla="*/ 0 w 3873975"/>
              <a:gd name="connsiteY5" fmla="*/ 968187 h 4774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73975" h="4774541">
                <a:moveTo>
                  <a:pt x="0" y="968187"/>
                </a:moveTo>
                <a:cubicBezTo>
                  <a:pt x="469840" y="575842"/>
                  <a:pt x="634498" y="412918"/>
                  <a:pt x="1118795" y="0"/>
                </a:cubicBezTo>
                <a:lnTo>
                  <a:pt x="3873975" y="7502"/>
                </a:lnTo>
                <a:lnTo>
                  <a:pt x="3873975" y="4774541"/>
                </a:lnTo>
                <a:lnTo>
                  <a:pt x="10223" y="4774541"/>
                </a:lnTo>
                <a:cubicBezTo>
                  <a:pt x="6815" y="3566717"/>
                  <a:pt x="3408" y="2176011"/>
                  <a:pt x="0" y="968187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en-GB"/>
              <a:t>Click icon to add pictu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071315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499A8B90-87CD-4260-BD04-1C5EEF5CA21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67109" y="613187"/>
            <a:ext cx="2184460" cy="3763889"/>
          </a:xfrm>
          <a:custGeom>
            <a:avLst/>
            <a:gdLst>
              <a:gd name="connsiteX0" fmla="*/ 0 w 3863752"/>
              <a:gd name="connsiteY0" fmla="*/ 0 h 4767039"/>
              <a:gd name="connsiteX1" fmla="*/ 3863752 w 3863752"/>
              <a:gd name="connsiteY1" fmla="*/ 0 h 4767039"/>
              <a:gd name="connsiteX2" fmla="*/ 3863752 w 3863752"/>
              <a:gd name="connsiteY2" fmla="*/ 4767039 h 4767039"/>
              <a:gd name="connsiteX3" fmla="*/ 0 w 3863752"/>
              <a:gd name="connsiteY3" fmla="*/ 4767039 h 4767039"/>
              <a:gd name="connsiteX4" fmla="*/ 0 w 3863752"/>
              <a:gd name="connsiteY4" fmla="*/ 0 h 4767039"/>
              <a:gd name="connsiteX0" fmla="*/ 0 w 3863752"/>
              <a:gd name="connsiteY0" fmla="*/ 7502 h 4774541"/>
              <a:gd name="connsiteX1" fmla="*/ 1044026 w 3863752"/>
              <a:gd name="connsiteY1" fmla="*/ 0 h 4774541"/>
              <a:gd name="connsiteX2" fmla="*/ 3863752 w 3863752"/>
              <a:gd name="connsiteY2" fmla="*/ 7502 h 4774541"/>
              <a:gd name="connsiteX3" fmla="*/ 3863752 w 3863752"/>
              <a:gd name="connsiteY3" fmla="*/ 4774541 h 4774541"/>
              <a:gd name="connsiteX4" fmla="*/ 0 w 3863752"/>
              <a:gd name="connsiteY4" fmla="*/ 4774541 h 4774541"/>
              <a:gd name="connsiteX5" fmla="*/ 0 w 3863752"/>
              <a:gd name="connsiteY5" fmla="*/ 7502 h 4774541"/>
              <a:gd name="connsiteX0" fmla="*/ 10223 w 3873975"/>
              <a:gd name="connsiteY0" fmla="*/ 7502 h 4774541"/>
              <a:gd name="connsiteX1" fmla="*/ 1054249 w 3873975"/>
              <a:gd name="connsiteY1" fmla="*/ 0 h 4774541"/>
              <a:gd name="connsiteX2" fmla="*/ 3873975 w 3873975"/>
              <a:gd name="connsiteY2" fmla="*/ 7502 h 4774541"/>
              <a:gd name="connsiteX3" fmla="*/ 3873975 w 3873975"/>
              <a:gd name="connsiteY3" fmla="*/ 4774541 h 4774541"/>
              <a:gd name="connsiteX4" fmla="*/ 10223 w 3873975"/>
              <a:gd name="connsiteY4" fmla="*/ 4774541 h 4774541"/>
              <a:gd name="connsiteX5" fmla="*/ 0 w 3873975"/>
              <a:gd name="connsiteY5" fmla="*/ 1151068 h 4774541"/>
              <a:gd name="connsiteX6" fmla="*/ 10223 w 3873975"/>
              <a:gd name="connsiteY6" fmla="*/ 7502 h 4774541"/>
              <a:gd name="connsiteX0" fmla="*/ 10223 w 3873975"/>
              <a:gd name="connsiteY0" fmla="*/ 7502 h 4774541"/>
              <a:gd name="connsiteX1" fmla="*/ 1054249 w 3873975"/>
              <a:gd name="connsiteY1" fmla="*/ 0 h 4774541"/>
              <a:gd name="connsiteX2" fmla="*/ 3873975 w 3873975"/>
              <a:gd name="connsiteY2" fmla="*/ 7502 h 4774541"/>
              <a:gd name="connsiteX3" fmla="*/ 3873975 w 3873975"/>
              <a:gd name="connsiteY3" fmla="*/ 4774541 h 4774541"/>
              <a:gd name="connsiteX4" fmla="*/ 10223 w 3873975"/>
              <a:gd name="connsiteY4" fmla="*/ 4774541 h 4774541"/>
              <a:gd name="connsiteX5" fmla="*/ 0 w 3873975"/>
              <a:gd name="connsiteY5" fmla="*/ 957430 h 4774541"/>
              <a:gd name="connsiteX6" fmla="*/ 10223 w 3873975"/>
              <a:gd name="connsiteY6" fmla="*/ 7502 h 4774541"/>
              <a:gd name="connsiteX0" fmla="*/ 10223 w 3873975"/>
              <a:gd name="connsiteY0" fmla="*/ 7502 h 4774541"/>
              <a:gd name="connsiteX1" fmla="*/ 1118795 w 3873975"/>
              <a:gd name="connsiteY1" fmla="*/ 0 h 4774541"/>
              <a:gd name="connsiteX2" fmla="*/ 3873975 w 3873975"/>
              <a:gd name="connsiteY2" fmla="*/ 7502 h 4774541"/>
              <a:gd name="connsiteX3" fmla="*/ 3873975 w 3873975"/>
              <a:gd name="connsiteY3" fmla="*/ 4774541 h 4774541"/>
              <a:gd name="connsiteX4" fmla="*/ 10223 w 3873975"/>
              <a:gd name="connsiteY4" fmla="*/ 4774541 h 4774541"/>
              <a:gd name="connsiteX5" fmla="*/ 0 w 3873975"/>
              <a:gd name="connsiteY5" fmla="*/ 957430 h 4774541"/>
              <a:gd name="connsiteX6" fmla="*/ 10223 w 3873975"/>
              <a:gd name="connsiteY6" fmla="*/ 7502 h 4774541"/>
              <a:gd name="connsiteX0" fmla="*/ 10223 w 3873975"/>
              <a:gd name="connsiteY0" fmla="*/ 7502 h 4774541"/>
              <a:gd name="connsiteX1" fmla="*/ 1118795 w 3873975"/>
              <a:gd name="connsiteY1" fmla="*/ 0 h 4774541"/>
              <a:gd name="connsiteX2" fmla="*/ 3873975 w 3873975"/>
              <a:gd name="connsiteY2" fmla="*/ 7502 h 4774541"/>
              <a:gd name="connsiteX3" fmla="*/ 3873975 w 3873975"/>
              <a:gd name="connsiteY3" fmla="*/ 4774541 h 4774541"/>
              <a:gd name="connsiteX4" fmla="*/ 10223 w 3873975"/>
              <a:gd name="connsiteY4" fmla="*/ 4774541 h 4774541"/>
              <a:gd name="connsiteX5" fmla="*/ 0 w 3873975"/>
              <a:gd name="connsiteY5" fmla="*/ 968187 h 4774541"/>
              <a:gd name="connsiteX6" fmla="*/ 10223 w 3873975"/>
              <a:gd name="connsiteY6" fmla="*/ 7502 h 4774541"/>
              <a:gd name="connsiteX0" fmla="*/ 0 w 3873975"/>
              <a:gd name="connsiteY0" fmla="*/ 968187 h 4774541"/>
              <a:gd name="connsiteX1" fmla="*/ 1118795 w 3873975"/>
              <a:gd name="connsiteY1" fmla="*/ 0 h 4774541"/>
              <a:gd name="connsiteX2" fmla="*/ 3873975 w 3873975"/>
              <a:gd name="connsiteY2" fmla="*/ 7502 h 4774541"/>
              <a:gd name="connsiteX3" fmla="*/ 3873975 w 3873975"/>
              <a:gd name="connsiteY3" fmla="*/ 4774541 h 4774541"/>
              <a:gd name="connsiteX4" fmla="*/ 10223 w 3873975"/>
              <a:gd name="connsiteY4" fmla="*/ 4774541 h 4774541"/>
              <a:gd name="connsiteX5" fmla="*/ 0 w 3873975"/>
              <a:gd name="connsiteY5" fmla="*/ 968187 h 4774541"/>
              <a:gd name="connsiteX0" fmla="*/ 0 w 3873975"/>
              <a:gd name="connsiteY0" fmla="*/ 968187 h 4774541"/>
              <a:gd name="connsiteX1" fmla="*/ 1118795 w 3873975"/>
              <a:gd name="connsiteY1" fmla="*/ 0 h 4774541"/>
              <a:gd name="connsiteX2" fmla="*/ 3873975 w 3873975"/>
              <a:gd name="connsiteY2" fmla="*/ 7502 h 4774541"/>
              <a:gd name="connsiteX3" fmla="*/ 3873975 w 3873975"/>
              <a:gd name="connsiteY3" fmla="*/ 4774541 h 4774541"/>
              <a:gd name="connsiteX4" fmla="*/ 10223 w 3873975"/>
              <a:gd name="connsiteY4" fmla="*/ 4774541 h 4774541"/>
              <a:gd name="connsiteX5" fmla="*/ 0 w 3873975"/>
              <a:gd name="connsiteY5" fmla="*/ 968187 h 4774541"/>
              <a:gd name="connsiteX0" fmla="*/ 0 w 3873975"/>
              <a:gd name="connsiteY0" fmla="*/ 968187 h 4774541"/>
              <a:gd name="connsiteX1" fmla="*/ 1118795 w 3873975"/>
              <a:gd name="connsiteY1" fmla="*/ 0 h 4774541"/>
              <a:gd name="connsiteX2" fmla="*/ 3873975 w 3873975"/>
              <a:gd name="connsiteY2" fmla="*/ 7502 h 4774541"/>
              <a:gd name="connsiteX3" fmla="*/ 3873975 w 3873975"/>
              <a:gd name="connsiteY3" fmla="*/ 4774541 h 4774541"/>
              <a:gd name="connsiteX4" fmla="*/ 10223 w 3873975"/>
              <a:gd name="connsiteY4" fmla="*/ 4774541 h 4774541"/>
              <a:gd name="connsiteX5" fmla="*/ 0 w 3873975"/>
              <a:gd name="connsiteY5" fmla="*/ 968187 h 4774541"/>
              <a:gd name="connsiteX0" fmla="*/ 0 w 3873975"/>
              <a:gd name="connsiteY0" fmla="*/ 968187 h 4774541"/>
              <a:gd name="connsiteX1" fmla="*/ 1118795 w 3873975"/>
              <a:gd name="connsiteY1" fmla="*/ 0 h 4774541"/>
              <a:gd name="connsiteX2" fmla="*/ 3873975 w 3873975"/>
              <a:gd name="connsiteY2" fmla="*/ 7502 h 4774541"/>
              <a:gd name="connsiteX3" fmla="*/ 3873975 w 3873975"/>
              <a:gd name="connsiteY3" fmla="*/ 4774541 h 4774541"/>
              <a:gd name="connsiteX4" fmla="*/ 10223 w 3873975"/>
              <a:gd name="connsiteY4" fmla="*/ 3350002 h 4774541"/>
              <a:gd name="connsiteX5" fmla="*/ 0 w 3873975"/>
              <a:gd name="connsiteY5" fmla="*/ 968187 h 4774541"/>
              <a:gd name="connsiteX0" fmla="*/ 0 w 3873975"/>
              <a:gd name="connsiteY0" fmla="*/ 968187 h 3350002"/>
              <a:gd name="connsiteX1" fmla="*/ 1118795 w 3873975"/>
              <a:gd name="connsiteY1" fmla="*/ 0 h 3350002"/>
              <a:gd name="connsiteX2" fmla="*/ 3873975 w 3873975"/>
              <a:gd name="connsiteY2" fmla="*/ 7502 h 3350002"/>
              <a:gd name="connsiteX3" fmla="*/ 3845099 w 3873975"/>
              <a:gd name="connsiteY3" fmla="*/ 3330752 h 3350002"/>
              <a:gd name="connsiteX4" fmla="*/ 10223 w 3873975"/>
              <a:gd name="connsiteY4" fmla="*/ 3350002 h 3350002"/>
              <a:gd name="connsiteX5" fmla="*/ 0 w 3873975"/>
              <a:gd name="connsiteY5" fmla="*/ 968187 h 3350002"/>
              <a:gd name="connsiteX0" fmla="*/ 0 w 3873975"/>
              <a:gd name="connsiteY0" fmla="*/ 968187 h 3763889"/>
              <a:gd name="connsiteX1" fmla="*/ 1118795 w 3873975"/>
              <a:gd name="connsiteY1" fmla="*/ 0 h 3763889"/>
              <a:gd name="connsiteX2" fmla="*/ 3873975 w 3873975"/>
              <a:gd name="connsiteY2" fmla="*/ 7502 h 3763889"/>
              <a:gd name="connsiteX3" fmla="*/ 3854724 w 3873975"/>
              <a:gd name="connsiteY3" fmla="*/ 3763889 h 3763889"/>
              <a:gd name="connsiteX4" fmla="*/ 10223 w 3873975"/>
              <a:gd name="connsiteY4" fmla="*/ 3350002 h 3763889"/>
              <a:gd name="connsiteX5" fmla="*/ 0 w 3873975"/>
              <a:gd name="connsiteY5" fmla="*/ 968187 h 3763889"/>
              <a:gd name="connsiteX0" fmla="*/ 0 w 3873975"/>
              <a:gd name="connsiteY0" fmla="*/ 968187 h 3763889"/>
              <a:gd name="connsiteX1" fmla="*/ 1118795 w 3873975"/>
              <a:gd name="connsiteY1" fmla="*/ 0 h 3763889"/>
              <a:gd name="connsiteX2" fmla="*/ 3873975 w 3873975"/>
              <a:gd name="connsiteY2" fmla="*/ 7502 h 3763889"/>
              <a:gd name="connsiteX3" fmla="*/ 3854724 w 3873975"/>
              <a:gd name="connsiteY3" fmla="*/ 3763889 h 3763889"/>
              <a:gd name="connsiteX4" fmla="*/ 10223 w 3873975"/>
              <a:gd name="connsiteY4" fmla="*/ 3763888 h 3763889"/>
              <a:gd name="connsiteX5" fmla="*/ 0 w 3873975"/>
              <a:gd name="connsiteY5" fmla="*/ 968187 h 3763889"/>
              <a:gd name="connsiteX0" fmla="*/ 9510 w 3883485"/>
              <a:gd name="connsiteY0" fmla="*/ 968187 h 3763889"/>
              <a:gd name="connsiteX1" fmla="*/ 1128305 w 3883485"/>
              <a:gd name="connsiteY1" fmla="*/ 0 h 3763889"/>
              <a:gd name="connsiteX2" fmla="*/ 3883485 w 3883485"/>
              <a:gd name="connsiteY2" fmla="*/ 7502 h 3763889"/>
              <a:gd name="connsiteX3" fmla="*/ 3864234 w 3883485"/>
              <a:gd name="connsiteY3" fmla="*/ 3763889 h 3763889"/>
              <a:gd name="connsiteX4" fmla="*/ 483 w 3883485"/>
              <a:gd name="connsiteY4" fmla="*/ 3763888 h 3763889"/>
              <a:gd name="connsiteX5" fmla="*/ 9510 w 3883485"/>
              <a:gd name="connsiteY5" fmla="*/ 968187 h 3763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83485" h="3763889">
                <a:moveTo>
                  <a:pt x="9510" y="968187"/>
                </a:moveTo>
                <a:cubicBezTo>
                  <a:pt x="479350" y="575842"/>
                  <a:pt x="644008" y="412918"/>
                  <a:pt x="1128305" y="0"/>
                </a:cubicBezTo>
                <a:lnTo>
                  <a:pt x="3883485" y="7502"/>
                </a:lnTo>
                <a:lnTo>
                  <a:pt x="3864234" y="3763889"/>
                </a:lnTo>
                <a:lnTo>
                  <a:pt x="483" y="3763888"/>
                </a:lnTo>
                <a:cubicBezTo>
                  <a:pt x="-2925" y="2556064"/>
                  <a:pt x="12918" y="2176011"/>
                  <a:pt x="9510" y="968187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en-GB"/>
              <a:t>Click icon to add pictu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055094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heme" Target="../theme/theme1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53EA1CA7-6A4B-4525-B31A-79FD8A501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512338992"/>
              </p:ext>
            </p:extLst>
          </p:nvPr>
        </p:nvGraphicFramePr>
        <p:xfrm>
          <a:off x="893" y="1588"/>
          <a:ext cx="893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7" imgW="532" imgH="530" progId="TCLayout.ActiveDocument.1">
                  <p:embed/>
                </p:oleObj>
              </mc:Choice>
              <mc:Fallback>
                <p:oleObj name="Diapositive think-cell" r:id="rId7" imgW="532" imgH="53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53EA1CA7-6A4B-4525-B31A-79FD8A501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893" y="1588"/>
                        <a:ext cx="893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56D049D-4B41-45FE-A1DE-AB458A6C5C72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89297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9693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7" r:id="rId2"/>
    <p:sldLayoutId id="2147483768" r:id="rId3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spc="12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5725" indent="-85725" algn="l" defTabSz="914400" rtl="0" eaLnBrk="1" latinLnBrk="0" hangingPunct="1">
        <a:lnSpc>
          <a:spcPct val="100000"/>
        </a:lnSpc>
        <a:spcBef>
          <a:spcPts val="1800"/>
        </a:spcBef>
        <a:buSzPct val="50000"/>
        <a:buFont typeface="HelveticaNeueLT Std Lt Cn" panose="020B0406020202030204" pitchFamily="34" charset="0"/>
        <a:buChar char=" 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314325" algn="l" defTabSz="914400" rtl="0" eaLnBrk="1" latinLnBrk="0" hangingPunct="1">
        <a:lnSpc>
          <a:spcPct val="100000"/>
        </a:lnSpc>
        <a:spcBef>
          <a:spcPts val="600"/>
        </a:spcBef>
        <a:buSzPct val="80000"/>
        <a:buFontTx/>
        <a:buBlip>
          <a:blip r:embed="rId9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1262063" indent="-228600" algn="l" defTabSz="914400" rtl="0" eaLnBrk="1" latinLnBrk="0" hangingPunct="1">
        <a:lnSpc>
          <a:spcPct val="90000"/>
        </a:lnSpc>
        <a:spcBef>
          <a:spcPts val="500"/>
        </a:spcBef>
        <a:buFont typeface="HelveticaNeueLT Std Lt Cn" panose="020B0406020202030204" pitchFamily="34" charset="0"/>
        <a:buChar char="−"/>
        <a:defRPr sz="105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jpeg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B1D7788-264A-15F0-949D-59E5BF5A06DB}"/>
              </a:ext>
            </a:extLst>
          </p:cNvPr>
          <p:cNvSpPr/>
          <p:nvPr/>
        </p:nvSpPr>
        <p:spPr>
          <a:xfrm>
            <a:off x="0" y="-99392"/>
            <a:ext cx="6876833" cy="6957392"/>
          </a:xfrm>
          <a:prstGeom prst="rect">
            <a:avLst/>
          </a:prstGeom>
          <a:solidFill>
            <a:srgbClr val="451B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39DA7CF3-C162-C0ED-A6F1-E000D6CA34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07" t="1247" r="17210" b="43149"/>
          <a:stretch/>
        </p:blipFill>
        <p:spPr>
          <a:xfrm>
            <a:off x="-16094" y="-99392"/>
            <a:ext cx="6906278" cy="6957392"/>
          </a:xfrm>
          <a:prstGeom prst="rect">
            <a:avLst/>
          </a:prstGeom>
        </p:spPr>
      </p:pic>
      <p:sp>
        <p:nvSpPr>
          <p:cNvPr id="10" name="Flèche : chevron 9">
            <a:extLst>
              <a:ext uri="{FF2B5EF4-FFF2-40B4-BE49-F238E27FC236}">
                <a16:creationId xmlns:a16="http://schemas.microsoft.com/office/drawing/2014/main" id="{8356E5D6-7BA0-BD9C-D6EC-E1BBF2069494}"/>
              </a:ext>
            </a:extLst>
          </p:cNvPr>
          <p:cNvSpPr/>
          <p:nvPr/>
        </p:nvSpPr>
        <p:spPr>
          <a:xfrm>
            <a:off x="5981923" y="5014882"/>
            <a:ext cx="360040" cy="450149"/>
          </a:xfrm>
          <a:prstGeom prst="chevron">
            <a:avLst/>
          </a:prstGeom>
          <a:solidFill>
            <a:srgbClr val="00C1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28E0CC7-F39A-EE79-3277-0FF105880158}"/>
              </a:ext>
            </a:extLst>
          </p:cNvPr>
          <p:cNvSpPr/>
          <p:nvPr/>
        </p:nvSpPr>
        <p:spPr>
          <a:xfrm>
            <a:off x="4958" y="-99392"/>
            <a:ext cx="6906278" cy="6986757"/>
          </a:xfrm>
          <a:prstGeom prst="rect">
            <a:avLst/>
          </a:prstGeom>
          <a:solidFill>
            <a:schemeClr val="tx1">
              <a:alpha val="1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4400" b="1" cap="all" dirty="0">
              <a:solidFill>
                <a:sysClr val="window" lastClr="FFFFFF"/>
              </a:solidFill>
              <a:latin typeface="Barlow Semi Condensed ExtraBold"/>
              <a:ea typeface="+mj-ea"/>
              <a:cs typeface="+mj-cs"/>
            </a:endParaRP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E653CD1A-6E6E-8435-6846-4C40A86D055A}"/>
              </a:ext>
            </a:extLst>
          </p:cNvPr>
          <p:cNvSpPr txBox="1">
            <a:spLocks/>
          </p:cNvSpPr>
          <p:nvPr/>
        </p:nvSpPr>
        <p:spPr>
          <a:xfrm>
            <a:off x="241470" y="333954"/>
            <a:ext cx="7262747" cy="145667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 cap="all" spc="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200" dirty="0">
                <a:solidFill>
                  <a:sysClr val="window" lastClr="FFFFFF"/>
                </a:solidFill>
                <a:latin typeface="Barlow Semi Condensed ExtraBold"/>
              </a:rPr>
              <a:t>‘EDEN - Education and Engagement’ </a:t>
            </a:r>
          </a:p>
          <a:p>
            <a:pPr>
              <a:defRPr/>
            </a:pPr>
            <a:r>
              <a:rPr lang="en-US" sz="3200" dirty="0">
                <a:solidFill>
                  <a:sysClr val="window" lastClr="FFFFFF"/>
                </a:solidFill>
                <a:latin typeface="Barlow Semi Condensed ExtraBold"/>
              </a:rPr>
              <a:t> </a:t>
            </a:r>
            <a:r>
              <a:rPr lang="en-US" sz="3200" dirty="0">
                <a:solidFill>
                  <a:sysClr val="window" lastClr="FFFFFF"/>
                </a:solidFill>
                <a:highlight>
                  <a:srgbClr val="121B5A"/>
                </a:highlight>
                <a:latin typeface="Barlow Semi Condensed ExtraBold"/>
              </a:rPr>
              <a:t>Ipsos Foundation </a:t>
            </a:r>
            <a:r>
              <a:rPr lang="en-US" sz="3200" dirty="0">
                <a:solidFill>
                  <a:sysClr val="window" lastClr="FFFFFF"/>
                </a:solidFill>
                <a:latin typeface="Barlow Semi Condensed ExtraBold"/>
              </a:rPr>
              <a:t>&amp; KISEDET</a:t>
            </a:r>
          </a:p>
          <a:p>
            <a:pPr>
              <a:defRPr/>
            </a:pPr>
            <a:endParaRPr lang="en-US" sz="3600" dirty="0">
              <a:solidFill>
                <a:sysClr val="window" lastClr="FFFFFF"/>
              </a:solidFill>
              <a:latin typeface="Barlow Semi Condensed ExtraBold"/>
            </a:endParaRPr>
          </a:p>
          <a:p>
            <a:pPr>
              <a:defRPr/>
            </a:pPr>
            <a:r>
              <a:rPr lang="en-US" sz="2400" b="0" cap="none" dirty="0">
                <a:solidFill>
                  <a:sysClr val="window" lastClr="FFFFFF"/>
                </a:solidFill>
                <a:latin typeface="Barlow" panose="00000500000000000000" pitchFamily="2" charset="0"/>
              </a:rPr>
              <a:t>Supporting children and families in Tanzania </a:t>
            </a:r>
          </a:p>
          <a:p>
            <a:pPr>
              <a:defRPr/>
            </a:pPr>
            <a:r>
              <a:rPr lang="en-US" sz="2400" b="0" cap="none" dirty="0">
                <a:solidFill>
                  <a:sysClr val="window" lastClr="FFFFFF"/>
                </a:solidFill>
                <a:latin typeface="Barlow" panose="00000500000000000000" pitchFamily="2" charset="0"/>
              </a:rPr>
              <a:t>by helping them to gain access to education  </a:t>
            </a:r>
            <a:br>
              <a:rPr lang="en-US" sz="2400" b="0" cap="none" dirty="0">
                <a:solidFill>
                  <a:sysClr val="window" lastClr="FFFFFF"/>
                </a:solidFill>
                <a:latin typeface="Barlow" panose="00000500000000000000" pitchFamily="2" charset="0"/>
              </a:rPr>
            </a:br>
            <a:endParaRPr lang="en-US" sz="2400" b="0" cap="none" dirty="0">
              <a:solidFill>
                <a:sysClr val="window" lastClr="FFFFFF"/>
              </a:solidFill>
              <a:latin typeface="Barlow" panose="00000500000000000000" pitchFamily="2" charset="0"/>
            </a:endParaRPr>
          </a:p>
        </p:txBody>
      </p:sp>
      <p:sp>
        <p:nvSpPr>
          <p:cNvPr id="11" name="Right Triangle 10">
            <a:extLst>
              <a:ext uri="{FF2B5EF4-FFF2-40B4-BE49-F238E27FC236}">
                <a16:creationId xmlns:a16="http://schemas.microsoft.com/office/drawing/2014/main" id="{92F89974-2466-ECDE-C078-AB2E12064D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3341473" y="3325640"/>
            <a:ext cx="3492560" cy="3594098"/>
          </a:xfrm>
          <a:prstGeom prst="rtTriangl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0000"/>
              </a:lnSpc>
            </a:pPr>
            <a:endParaRPr lang="en-GB" sz="1400" err="1">
              <a:solidFill>
                <a:schemeClr val="tx1"/>
              </a:solidFill>
            </a:endParaRPr>
          </a:p>
        </p:txBody>
      </p:sp>
      <p:pic>
        <p:nvPicPr>
          <p:cNvPr id="6" name="Graphique 8">
            <a:extLst>
              <a:ext uri="{FF2B5EF4-FFF2-40B4-BE49-F238E27FC236}">
                <a16:creationId xmlns:a16="http://schemas.microsoft.com/office/drawing/2014/main" id="{F148816F-6A23-21D2-3180-E28156FF9FA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35697" y="5877272"/>
            <a:ext cx="612531" cy="56105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0D4CCA5-7582-CDE2-B94D-0A94750E225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9661" y="5906407"/>
            <a:ext cx="1360485" cy="502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6785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000"/>
    </mc:Choice>
    <mc:Fallback xmlns="">
      <p:transition spd="slow" advTm="500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2C1E8CF-A0E8-EBAF-EDD1-FEA8400A26EC}"/>
              </a:ext>
            </a:extLst>
          </p:cNvPr>
          <p:cNvSpPr/>
          <p:nvPr/>
        </p:nvSpPr>
        <p:spPr>
          <a:xfrm>
            <a:off x="-9872" y="0"/>
            <a:ext cx="6867872" cy="6858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73069D3-9D5E-ABB3-14DC-DB0116BB50D4}"/>
              </a:ext>
            </a:extLst>
          </p:cNvPr>
          <p:cNvSpPr txBox="1">
            <a:spLocks/>
          </p:cNvSpPr>
          <p:nvPr/>
        </p:nvSpPr>
        <p:spPr>
          <a:xfrm>
            <a:off x="2614600" y="910184"/>
            <a:ext cx="6525344" cy="56105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 cap="all" spc="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GB" sz="3200" dirty="0">
                <a:solidFill>
                  <a:sysClr val="window" lastClr="FFFFFF"/>
                </a:solidFill>
                <a:latin typeface="Barlow Semi Condensed ExtraBold"/>
              </a:rPr>
              <a:t>Who Are We Helping?</a:t>
            </a:r>
          </a:p>
        </p:txBody>
      </p:sp>
      <p:sp>
        <p:nvSpPr>
          <p:cNvPr id="2" name="TextBox 20">
            <a:extLst>
              <a:ext uri="{FF2B5EF4-FFF2-40B4-BE49-F238E27FC236}">
                <a16:creationId xmlns:a16="http://schemas.microsoft.com/office/drawing/2014/main" id="{7B560EF3-4308-AE9B-B740-9276E1763948}"/>
              </a:ext>
            </a:extLst>
          </p:cNvPr>
          <p:cNvSpPr txBox="1"/>
          <p:nvPr/>
        </p:nvSpPr>
        <p:spPr>
          <a:xfrm>
            <a:off x="2614600" y="1340691"/>
            <a:ext cx="5455634" cy="27145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arlow"/>
                <a:ea typeface="+mj-ea"/>
                <a:cs typeface="+mj-cs"/>
              </a:rPr>
              <a:t>A group of </a:t>
            </a:r>
            <a:r>
              <a:rPr lang="en-US" sz="2800" b="1" dirty="0">
                <a:solidFill>
                  <a:schemeClr val="bg1"/>
                </a:solidFill>
                <a:latin typeface="Barlow"/>
                <a:ea typeface="+mj-ea"/>
                <a:cs typeface="+mj-cs"/>
              </a:rPr>
              <a:t>30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arlow"/>
                <a:ea typeface="+mj-ea"/>
                <a:cs typeface="+mj-cs"/>
              </a:rPr>
              <a:t> children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arlow"/>
                <a:ea typeface="+mj-ea"/>
                <a:cs typeface="+mj-cs"/>
              </a:rPr>
              <a:t>between the ages of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chemeClr val="bg1"/>
                </a:solidFill>
                <a:latin typeface="Barlow"/>
                <a:ea typeface="+mj-ea"/>
                <a:cs typeface="+mj-cs"/>
              </a:rPr>
              <a:t>5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arlow"/>
                <a:ea typeface="+mj-ea"/>
                <a:cs typeface="+mj-cs"/>
              </a:rPr>
              <a:t>to 17 years, </a:t>
            </a:r>
            <a:b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arlow"/>
                <a:ea typeface="+mj-ea"/>
                <a:cs typeface="+mj-cs"/>
              </a:rPr>
            </a:b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arlow"/>
                <a:ea typeface="+mj-ea"/>
                <a:cs typeface="+mj-cs"/>
              </a:rPr>
              <a:t>10 teenagers </a:t>
            </a:r>
            <a:r>
              <a:rPr lang="en-US" sz="2800" b="1" dirty="0">
                <a:solidFill>
                  <a:schemeClr val="bg1"/>
                </a:solidFill>
                <a:latin typeface="Barlow"/>
                <a:ea typeface="+mj-ea"/>
                <a:cs typeface="+mj-cs"/>
              </a:rPr>
              <a:t>and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arlow"/>
                <a:ea typeface="+mj-ea"/>
                <a:cs typeface="+mj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arlow"/>
                <a:ea typeface="+mj-ea"/>
                <a:cs typeface="+mj-cs"/>
              </a:rPr>
              <a:t>40 families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arlow"/>
                <a:ea typeface="+mj-ea"/>
                <a:cs typeface="+mj-cs"/>
              </a:rPr>
              <a:t>from rural area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arlow"/>
                <a:ea typeface="+mj-ea"/>
                <a:cs typeface="+mj-cs"/>
              </a:rPr>
              <a:t>in </a:t>
            </a:r>
            <a:r>
              <a:rPr lang="en-US" sz="2800" b="1" dirty="0">
                <a:solidFill>
                  <a:schemeClr val="bg1"/>
                </a:solidFill>
                <a:latin typeface="Barlow"/>
                <a:ea typeface="+mj-ea"/>
                <a:cs typeface="+mj-cs"/>
              </a:rPr>
              <a:t>Tanzania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arlow"/>
                <a:ea typeface="+mj-ea"/>
                <a:cs typeface="+mj-cs"/>
              </a:rPr>
              <a:t>.</a:t>
            </a:r>
          </a:p>
        </p:txBody>
      </p:sp>
      <p:pic>
        <p:nvPicPr>
          <p:cNvPr id="9" name="Picture 43">
            <a:extLst>
              <a:ext uri="{FF2B5EF4-FFF2-40B4-BE49-F238E27FC236}">
                <a16:creationId xmlns:a16="http://schemas.microsoft.com/office/drawing/2014/main" id="{827319CE-AC01-7C1B-4D9C-321D032D1A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10" t="580" r="29518" b="-580"/>
          <a:stretch/>
        </p:blipFill>
        <p:spPr>
          <a:xfrm>
            <a:off x="-9872" y="0"/>
            <a:ext cx="2296016" cy="5054136"/>
          </a:xfrm>
          <a:custGeom>
            <a:avLst/>
            <a:gdLst>
              <a:gd name="connsiteX0" fmla="*/ 0 w 2768089"/>
              <a:gd name="connsiteY0" fmla="*/ 0 h 6093293"/>
              <a:gd name="connsiteX1" fmla="*/ 2768089 w 2768089"/>
              <a:gd name="connsiteY1" fmla="*/ 0 h 6093293"/>
              <a:gd name="connsiteX2" fmla="*/ 2768089 w 2768089"/>
              <a:gd name="connsiteY2" fmla="*/ 5629944 h 6093293"/>
              <a:gd name="connsiteX3" fmla="*/ 2291270 w 2768089"/>
              <a:gd name="connsiteY3" fmla="*/ 6093293 h 6093293"/>
              <a:gd name="connsiteX4" fmla="*/ 2768089 w 2768089"/>
              <a:gd name="connsiteY4" fmla="*/ 6093293 h 6093293"/>
              <a:gd name="connsiteX5" fmla="*/ 2768089 w 2768089"/>
              <a:gd name="connsiteY5" fmla="*/ 6093293 h 6093293"/>
              <a:gd name="connsiteX6" fmla="*/ 0 w 2768089"/>
              <a:gd name="connsiteY6" fmla="*/ 6093293 h 6093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68089" h="6093293">
                <a:moveTo>
                  <a:pt x="0" y="0"/>
                </a:moveTo>
                <a:lnTo>
                  <a:pt x="2768089" y="0"/>
                </a:lnTo>
                <a:lnTo>
                  <a:pt x="2768089" y="5629944"/>
                </a:lnTo>
                <a:lnTo>
                  <a:pt x="2291270" y="6093293"/>
                </a:lnTo>
                <a:lnTo>
                  <a:pt x="2768089" y="6093293"/>
                </a:lnTo>
                <a:lnTo>
                  <a:pt x="2768089" y="6093293"/>
                </a:lnTo>
                <a:lnTo>
                  <a:pt x="0" y="6093293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580978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000"/>
    </mc:Choice>
    <mc:Fallback xmlns="">
      <p:transition spd="slow" advTm="700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2C1E8CF-A0E8-EBAF-EDD1-FEA8400A26EC}"/>
              </a:ext>
            </a:extLst>
          </p:cNvPr>
          <p:cNvSpPr/>
          <p:nvPr/>
        </p:nvSpPr>
        <p:spPr>
          <a:xfrm>
            <a:off x="-9872" y="-1"/>
            <a:ext cx="6867872" cy="6858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2" name="Picture 43">
            <a:extLst>
              <a:ext uri="{FF2B5EF4-FFF2-40B4-BE49-F238E27FC236}">
                <a16:creationId xmlns:a16="http://schemas.microsoft.com/office/drawing/2014/main" id="{F1962B5E-0536-6138-AF3B-8829E37E6F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14" r="19714"/>
          <a:stretch/>
        </p:blipFill>
        <p:spPr>
          <a:xfrm>
            <a:off x="4581728" y="1"/>
            <a:ext cx="2296016" cy="5054136"/>
          </a:xfrm>
          <a:custGeom>
            <a:avLst/>
            <a:gdLst>
              <a:gd name="connsiteX0" fmla="*/ 0 w 2768089"/>
              <a:gd name="connsiteY0" fmla="*/ 0 h 6093293"/>
              <a:gd name="connsiteX1" fmla="*/ 2768089 w 2768089"/>
              <a:gd name="connsiteY1" fmla="*/ 0 h 6093293"/>
              <a:gd name="connsiteX2" fmla="*/ 2768089 w 2768089"/>
              <a:gd name="connsiteY2" fmla="*/ 5629944 h 6093293"/>
              <a:gd name="connsiteX3" fmla="*/ 2291270 w 2768089"/>
              <a:gd name="connsiteY3" fmla="*/ 6093293 h 6093293"/>
              <a:gd name="connsiteX4" fmla="*/ 2768089 w 2768089"/>
              <a:gd name="connsiteY4" fmla="*/ 6093293 h 6093293"/>
              <a:gd name="connsiteX5" fmla="*/ 2768089 w 2768089"/>
              <a:gd name="connsiteY5" fmla="*/ 6093293 h 6093293"/>
              <a:gd name="connsiteX6" fmla="*/ 0 w 2768089"/>
              <a:gd name="connsiteY6" fmla="*/ 6093293 h 6093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68089" h="6093293">
                <a:moveTo>
                  <a:pt x="0" y="0"/>
                </a:moveTo>
                <a:lnTo>
                  <a:pt x="2768089" y="0"/>
                </a:lnTo>
                <a:lnTo>
                  <a:pt x="2768089" y="5629944"/>
                </a:lnTo>
                <a:lnTo>
                  <a:pt x="2291270" y="6093293"/>
                </a:lnTo>
                <a:lnTo>
                  <a:pt x="2768089" y="6093293"/>
                </a:lnTo>
                <a:lnTo>
                  <a:pt x="2768089" y="6093293"/>
                </a:lnTo>
                <a:lnTo>
                  <a:pt x="0" y="6093293"/>
                </a:lnTo>
                <a:close/>
              </a:path>
            </a:pathLst>
          </a:cu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973069D3-9D5E-ABB3-14DC-DB0116BB50D4}"/>
              </a:ext>
            </a:extLst>
          </p:cNvPr>
          <p:cNvSpPr txBox="1">
            <a:spLocks/>
          </p:cNvSpPr>
          <p:nvPr/>
        </p:nvSpPr>
        <p:spPr>
          <a:xfrm>
            <a:off x="227789" y="1066807"/>
            <a:ext cx="6525344" cy="56105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 cap="all" spc="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GB" sz="3200" dirty="0">
                <a:solidFill>
                  <a:sysClr val="window" lastClr="FFFFFF"/>
                </a:solidFill>
                <a:latin typeface="Barlow Semi Condensed ExtraBold"/>
              </a:rPr>
              <a:t>How Are We Helping?</a:t>
            </a:r>
          </a:p>
        </p:txBody>
      </p:sp>
      <p:sp>
        <p:nvSpPr>
          <p:cNvPr id="2" name="TextBox 20">
            <a:extLst>
              <a:ext uri="{FF2B5EF4-FFF2-40B4-BE49-F238E27FC236}">
                <a16:creationId xmlns:a16="http://schemas.microsoft.com/office/drawing/2014/main" id="{7B560EF3-4308-AE9B-B740-9276E1763948}"/>
              </a:ext>
            </a:extLst>
          </p:cNvPr>
          <p:cNvSpPr txBox="1"/>
          <p:nvPr/>
        </p:nvSpPr>
        <p:spPr>
          <a:xfrm>
            <a:off x="227789" y="1767006"/>
            <a:ext cx="4169113" cy="33239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arlow" panose="00000500000000000000" pitchFamily="2" charset="0"/>
                <a:ea typeface="+mj-ea"/>
                <a:cs typeface="+mj-cs"/>
              </a:rPr>
              <a:t>Access to education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arlow" panose="00000500000000000000" pitchFamily="2" charset="0"/>
              <a:ea typeface="+mj-ea"/>
              <a:cs typeface="+mj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2400" b="1" dirty="0">
                <a:solidFill>
                  <a:schemeClr val="bg1"/>
                </a:solidFill>
                <a:latin typeface="Barlow" panose="00000500000000000000" pitchFamily="2" charset="0"/>
                <a:ea typeface="+mj-ea"/>
                <a:cs typeface="+mj-cs"/>
              </a:rPr>
              <a:t>Access to training centers or apprenticeship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US" sz="2400" b="1" dirty="0">
              <a:solidFill>
                <a:schemeClr val="bg1"/>
              </a:solidFill>
              <a:latin typeface="Barlow" panose="00000500000000000000" pitchFamily="2" charset="0"/>
              <a:ea typeface="+mj-ea"/>
              <a:cs typeface="+mj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arlow" panose="00000500000000000000" pitchFamily="2" charset="0"/>
                <a:ea typeface="+mj-ea"/>
                <a:cs typeface="+mj-cs"/>
              </a:rPr>
              <a:t>Family reunification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arlow" panose="00000500000000000000" pitchFamily="2" charset="0"/>
              <a:ea typeface="+mj-ea"/>
              <a:cs typeface="+mj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2400" b="1" dirty="0">
                <a:solidFill>
                  <a:schemeClr val="bg1"/>
                </a:solidFill>
                <a:latin typeface="Barlow" panose="00000500000000000000" pitchFamily="2" charset="0"/>
                <a:ea typeface="+mj-ea"/>
                <a:cs typeface="+mj-cs"/>
              </a:rPr>
              <a:t>Community engagement supporting vulnerable parents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arlow" panose="00000500000000000000" pitchFamily="2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441651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1000"/>
    </mc:Choice>
    <mc:Fallback xmlns="">
      <p:transition spd="slow" advTm="1100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CECCD0E-2DE6-CCA2-FD75-F6DF9B9721AB}"/>
              </a:ext>
            </a:extLst>
          </p:cNvPr>
          <p:cNvSpPr/>
          <p:nvPr/>
        </p:nvSpPr>
        <p:spPr>
          <a:xfrm>
            <a:off x="0" y="0"/>
            <a:ext cx="6858000" cy="6858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3" name="Graphique 8">
            <a:extLst>
              <a:ext uri="{FF2B5EF4-FFF2-40B4-BE49-F238E27FC236}">
                <a16:creationId xmlns:a16="http://schemas.microsoft.com/office/drawing/2014/main" id="{507C3C1B-C8F8-A6E3-00A4-CF956C289B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81086" y="1806889"/>
            <a:ext cx="1495828" cy="1370129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6A1ABC76-E390-D0FB-5A6F-4F671A57C0E9}"/>
              </a:ext>
            </a:extLst>
          </p:cNvPr>
          <p:cNvSpPr txBox="1">
            <a:spLocks/>
          </p:cNvSpPr>
          <p:nvPr/>
        </p:nvSpPr>
        <p:spPr>
          <a:xfrm>
            <a:off x="128589" y="1047036"/>
            <a:ext cx="6600822" cy="128211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 cap="all" spc="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en-GB" sz="3200" cap="none" dirty="0">
                <a:solidFill>
                  <a:sysClr val="window" lastClr="FFFFFF"/>
                </a:solidFill>
                <a:latin typeface="Barlow Semi Condensed ExtraBold"/>
              </a:rPr>
              <a:t>THIS PROJECT IS FUNDED BY IPSOS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50FA3966-F38C-C651-526E-FB313A98EC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0600" y="3892888"/>
            <a:ext cx="2336800" cy="86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8023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52hb9WDlXLdt_Xkw2WZA"/>
</p:tagLst>
</file>

<file path=ppt/theme/theme1.xml><?xml version="1.0" encoding="utf-8"?>
<a:theme xmlns:a="http://schemas.openxmlformats.org/drawingml/2006/main" name="IPSOS - Classical Template - 16x9">
  <a:themeElements>
    <a:clrScheme name="Personnalisé 183">
      <a:dk1>
        <a:sysClr val="windowText" lastClr="000000"/>
      </a:dk1>
      <a:lt1>
        <a:sysClr val="window" lastClr="FFFFFF"/>
      </a:lt1>
      <a:dk2>
        <a:srgbClr val="009D9C"/>
      </a:dk2>
      <a:lt2>
        <a:srgbClr val="2F469C"/>
      </a:lt2>
      <a:accent1>
        <a:srgbClr val="002554"/>
      </a:accent1>
      <a:accent2>
        <a:srgbClr val="F1BE48"/>
      </a:accent2>
      <a:accent3>
        <a:srgbClr val="E87722"/>
      </a:accent3>
      <a:accent4>
        <a:srgbClr val="84329B"/>
      </a:accent4>
      <a:accent5>
        <a:srgbClr val="E4C7EC"/>
      </a:accent5>
      <a:accent6>
        <a:srgbClr val="BEDBFF"/>
      </a:accent6>
      <a:hlink>
        <a:srgbClr val="0563C1"/>
      </a:hlink>
      <a:folHlink>
        <a:srgbClr val="954F72"/>
      </a:folHlink>
    </a:clrScheme>
    <a:fontScheme name="Personnalisé 80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psos Foundation - KISEDET - V2" id="{6967D4F2-1750-FA4E-AB01-43CA30FA8E1A}" vid="{07706EDD-7DFF-BF4B-B9FC-E67D27D463F0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B75AD9DC4239A47AB6FDC49FCFB618A" ma:contentTypeVersion="6" ma:contentTypeDescription="Create a new document." ma:contentTypeScope="" ma:versionID="5a25462a6051fd44c8b6fecdb0076c96">
  <xsd:schema xmlns:xsd="http://www.w3.org/2001/XMLSchema" xmlns:xs="http://www.w3.org/2001/XMLSchema" xmlns:p="http://schemas.microsoft.com/office/2006/metadata/properties" xmlns:ns2="85c76272-7e4d-4f8f-89d1-3b227e52ef43" xmlns:ns3="a1549414-1dcc-402f-ba9b-44c1b3f5d57c" targetNamespace="http://schemas.microsoft.com/office/2006/metadata/properties" ma:root="true" ma:fieldsID="6936dcceafec7982565e6ff282441213" ns2:_="" ns3:_="">
    <xsd:import namespace="85c76272-7e4d-4f8f-89d1-3b227e52ef43"/>
    <xsd:import namespace="a1549414-1dcc-402f-ba9b-44c1b3f5d57c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c76272-7e4d-4f8f-89d1-3b227e52ef4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1549414-1dcc-402f-ba9b-44c1b3f5d57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121A726-3EE4-4418-9FB5-3B40BFAD9B0B}">
  <ds:schemaRefs>
    <ds:schemaRef ds:uri="85c76272-7e4d-4f8f-89d1-3b227e52ef43"/>
    <ds:schemaRef ds:uri="a1549414-1dcc-402f-ba9b-44c1b3f5d57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8473E1C-6E32-4541-930D-84486C0D1655}">
  <ds:schemaRefs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purl.org/dc/dcmitype/"/>
    <ds:schemaRef ds:uri="http://schemas.microsoft.com/office/2006/metadata/properties"/>
    <ds:schemaRef ds:uri="http://schemas.microsoft.com/office/2006/documentManagement/types"/>
    <ds:schemaRef ds:uri="a1549414-1dcc-402f-ba9b-44c1b3f5d57c"/>
    <ds:schemaRef ds:uri="85c76272-7e4d-4f8f-89d1-3b227e52ef43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BC0ACA2A-D828-4FD0-94B1-4280FB489D8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PSOS - Classical Template - 16x9</Template>
  <TotalTime>6</TotalTime>
  <Words>88</Words>
  <Application>Microsoft Macintosh PowerPoint</Application>
  <PresentationFormat>Custom</PresentationFormat>
  <Paragraphs>24</Paragraphs>
  <Slides>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3" baseType="lpstr">
      <vt:lpstr>Barlow Semi Condensed ExtraBold</vt:lpstr>
      <vt:lpstr>Barlow</vt:lpstr>
      <vt:lpstr>Calibri</vt:lpstr>
      <vt:lpstr>Arial Black</vt:lpstr>
      <vt:lpstr>Aptos</vt:lpstr>
      <vt:lpstr>HelveticaNeueLT Std Lt Cn</vt:lpstr>
      <vt:lpstr>Arial</vt:lpstr>
      <vt:lpstr>IPSOS - Classical Template - 16x9</vt:lpstr>
      <vt:lpstr>Diapositive think-cell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Luca Scudiero</dc:creator>
  <cp:lastModifiedBy>Luca Scudiero</cp:lastModifiedBy>
  <cp:revision>2</cp:revision>
  <dcterms:created xsi:type="dcterms:W3CDTF">2025-01-30T07:22:13Z</dcterms:created>
  <dcterms:modified xsi:type="dcterms:W3CDTF">2025-01-30T07:33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B75AD9DC4239A47AB6FDC49FCFB618A</vt:lpwstr>
  </property>
</Properties>
</file>